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3"/>
  </p:notesMasterIdLst>
  <p:sldIdLst>
    <p:sldId id="435" r:id="rId2"/>
  </p:sldIdLst>
  <p:sldSz cx="9144000" cy="5143500" type="screen16x9"/>
  <p:notesSz cx="6858000" cy="9144000"/>
  <p:custDataLst>
    <p:tags r:id="rId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44" autoAdjust="0"/>
    <p:restoredTop sz="73875" autoAdjust="0"/>
  </p:normalViewPr>
  <p:slideViewPr>
    <p:cSldViewPr snapToGrid="0">
      <p:cViewPr varScale="1">
        <p:scale>
          <a:sx n="90" d="100"/>
          <a:sy n="90" d="100"/>
        </p:scale>
        <p:origin x="720" y="78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5298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2146578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Pivot table</a:t>
            </a:r>
            <a:endParaRPr lang="en-GB" b="0" i="0" dirty="0" smtClean="0"/>
          </a:p>
        </p:txBody>
      </p:sp>
      <p:sp>
        <p:nvSpPr>
          <p:cNvPr id="7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285591" y="4995240"/>
            <a:ext cx="1782233" cy="1482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3"/>
            <a:ext cx="4255644" cy="2139623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ivot Tables have the dynamic ability to shrink or expand depending on the specified condition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f the source data changes, the pivot needs to be refreshed individually, unless you create certain automatic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updating preset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8156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Great tool to quickly create summaries of large dataset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nalytical tool to sort, count, total or display average of data stored in one table or spreadsheet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an be used to create reports and dashboard summarie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1095" y="2400156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32421" y="2312168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937377" y="963128"/>
            <a:ext cx="3851189" cy="10002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Highlight the data you would like to includ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Click on Pivot Table in the Ribbon and select where you would like the table to b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Drag items from the Field List to the appropriate Filter, Row, Column, and Value sections</a:t>
            </a:r>
          </a:p>
        </p:txBody>
      </p:sp>
      <p:sp>
        <p:nvSpPr>
          <p:cNvPr id="21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15925" y="936494"/>
            <a:ext cx="4022915" cy="184665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 pivot table allows you to extract data from a large, detailed data set and transform static data into useful,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easy-to-read information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Organize vast amounts of data easily in many different ways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Move and Combine Data Fields easily to show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different analyse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ustomizable final Pivot Table display and format</a:t>
            </a:r>
          </a:p>
          <a:p>
            <a:pPr marL="137160" indent="-13716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reate your own formulas within a Pivot Table to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increase your outcome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307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40</TotalTime>
  <Words>149</Words>
  <Application>Microsoft Office PowerPoint</Application>
  <PresentationFormat>On-screen Show (16:9)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ourier New</vt:lpstr>
      <vt:lpstr>Georgia</vt:lpstr>
      <vt:lpstr>Noto Symbol</vt:lpstr>
      <vt:lpstr>PwC</vt:lpstr>
      <vt:lpstr>think-cell Slide</vt:lpstr>
      <vt:lpstr>Pivot tabl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Michele Thiede</cp:lastModifiedBy>
  <cp:revision>375</cp:revision>
  <dcterms:modified xsi:type="dcterms:W3CDTF">2016-10-23T13:1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